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2040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6964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2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42D4293-083F-4313-9ACA-D49698F94A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840586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Aumente a eficiência do equipamento e reduza os custos de manutençã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9599" y="1381704"/>
            <a:ext cx="7997825" cy="307975"/>
          </a:xfrm>
        </p:spPr>
        <p:txBody>
          <a:bodyPr/>
          <a:lstStyle/>
          <a:p>
            <a:r>
              <a:rPr lang="pt-BR" altLang="fr-FR" dirty="0"/>
              <a:t>Novos botões de descarga e descompressão de CO2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07143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Redução do desgaste graças às buchas deslizantes e aumento da produtividade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ior estanqueidade com novas vedações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Vida útil mais longa antes da manutenção / substituição por desgaste (até 9.000 horas).</a:t>
            </a:r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69776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A atualização consiste simplesmente em substituir os botões e trilhos anteriores pelo seguinte: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      - Botões de fluxo e descompressão de nova geração (com mola externa)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      - Trilho de fluxo dedicado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      - Trilho de descompressão dedicado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      - Trilho de saneamento dedicado</a:t>
            </a: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B535E29-2478-4CF9-9287-2F6A16D4515A}"/>
              </a:ext>
            </a:extLst>
          </p:cNvPr>
          <p:cNvSpPr txBox="1">
            <a:spLocks/>
          </p:cNvSpPr>
          <p:nvPr/>
        </p:nvSpPr>
        <p:spPr bwMode="auto">
          <a:xfrm>
            <a:off x="647700" y="5872632"/>
            <a:ext cx="8021624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Eficiência, Manutenção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Enchedoras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P,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V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SC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AA,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 </a:t>
            </a:r>
          </a:p>
          <a:p>
            <a:pPr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049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0" name="Picture 2" descr="hs049">
            <a:extLst>
              <a:ext uri="{FF2B5EF4-FFF2-40B4-BE49-F238E27FC236}">
                <a16:creationId xmlns:a16="http://schemas.microsoft.com/office/drawing/2014/main" id="{F4661075-E30F-40A0-BCD4-8B2D91572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4070"/>
          <a:stretch>
            <a:fillRect/>
          </a:stretch>
        </p:blipFill>
        <p:spPr bwMode="auto">
          <a:xfrm>
            <a:off x="2450098" y="3612517"/>
            <a:ext cx="4310482" cy="219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FACC0D73-956E-4E3D-B2DB-1E11F657431F}"/>
              </a:ext>
            </a:extLst>
          </p:cNvPr>
          <p:cNvSpPr/>
          <p:nvPr/>
        </p:nvSpPr>
        <p:spPr>
          <a:xfrm>
            <a:off x="1209469" y="4782069"/>
            <a:ext cx="1418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actuel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91E7F68-A19D-4EDC-8D3C-76883AA2FA1F}"/>
              </a:ext>
            </a:extLst>
          </p:cNvPr>
          <p:cNvSpPr/>
          <p:nvPr/>
        </p:nvSpPr>
        <p:spPr>
          <a:xfrm>
            <a:off x="6958744" y="4712199"/>
            <a:ext cx="1470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uvelle solution</a:t>
            </a:r>
          </a:p>
        </p:txBody>
      </p:sp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0</TotalTime>
  <Words>136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NewSidel_Template_4x3_with add layouts</vt:lpstr>
      <vt:lpstr>think-cell Folie</vt:lpstr>
      <vt:lpstr>Aumente a eficiência do equipamento e reduza os custos de manutençã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8</cp:revision>
  <dcterms:created xsi:type="dcterms:W3CDTF">2018-02-10T17:04:39Z</dcterms:created>
  <dcterms:modified xsi:type="dcterms:W3CDTF">2021-02-22T13:2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